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27C4E3F3-AB19-47C5-9253-D35CE8F8843A}">
          <p14:sldIdLst>
            <p14:sldId id="2147477365"/>
          </p14:sldIdLst>
        </p14:section>
        <p14:section name="Segments Price Correlation Analysis P3Y" id="{4A0978A5-3997-4ACC-AED5-C11305CACAF2}">
          <p14:sldIdLst>
            <p14:sldId id="2147477366"/>
            <p14:sldId id="2147477367"/>
            <p14:sldId id="2147477368"/>
            <p14:sldId id="2147477369"/>
            <p14:sldId id="2147477370"/>
            <p14:sldId id="2147477371"/>
            <p14:sldId id="2147477372"/>
            <p14:sldId id="214747737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3586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9031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1571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36449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4596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0467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6182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85213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112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39</Words>
  <Application>Microsoft Office PowerPoint</Application>
  <PresentationFormat>On-screen Show (16:9)</PresentationFormat>
  <Paragraphs>117</Paragraphs>
  <Slides>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1: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